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715" r:id="rId4"/>
    <p:sldMasterId id="2147483790" r:id="rId5"/>
  </p:sldMasterIdLst>
  <p:notesMasterIdLst>
    <p:notesMasterId r:id="rId14"/>
  </p:notesMasterIdLst>
  <p:handoutMasterIdLst>
    <p:handoutMasterId r:id="rId15"/>
  </p:handoutMasterIdLst>
  <p:sldIdLst>
    <p:sldId id="392" r:id="rId6"/>
    <p:sldId id="407" r:id="rId7"/>
    <p:sldId id="408" r:id="rId8"/>
    <p:sldId id="409" r:id="rId9"/>
    <p:sldId id="410" r:id="rId10"/>
    <p:sldId id="411" r:id="rId11"/>
    <p:sldId id="412" r:id="rId12"/>
    <p:sldId id="291" r:id="rId13"/>
  </p:sldIdLst>
  <p:sldSz cx="9144000" cy="6858000" type="screen4x3"/>
  <p:notesSz cx="7010400" cy="92964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9">
          <p15:clr>
            <a:srgbClr val="A4A3A4"/>
          </p15:clr>
        </p15:guide>
        <p15:guide id="2" orient="horz" pos="696">
          <p15:clr>
            <a:srgbClr val="A4A3A4"/>
          </p15:clr>
        </p15:guide>
        <p15:guide id="3" orient="horz" pos="926">
          <p15:clr>
            <a:srgbClr val="A4A3A4"/>
          </p15:clr>
        </p15:guide>
        <p15:guide id="4" orient="horz" pos="2657">
          <p15:clr>
            <a:srgbClr val="A4A3A4"/>
          </p15:clr>
        </p15:guide>
        <p15:guide id="5" orient="horz" pos="232">
          <p15:clr>
            <a:srgbClr val="A4A3A4"/>
          </p15:clr>
        </p15:guide>
        <p15:guide id="6" orient="horz" pos="487">
          <p15:clr>
            <a:srgbClr val="A4A3A4"/>
          </p15:clr>
        </p15:guide>
        <p15:guide id="7" pos="241">
          <p15:clr>
            <a:srgbClr val="A4A3A4"/>
          </p15:clr>
        </p15:guide>
        <p15:guide id="8" orient="horz">
          <p15:clr>
            <a:srgbClr val="A4A3A4"/>
          </p15:clr>
        </p15:guide>
        <p15:guide id="9" orient="horz" pos="1659">
          <p15:clr>
            <a:srgbClr val="A4A3A4"/>
          </p15:clr>
        </p15:guide>
        <p15:guide id="10" orient="horz" pos="3639">
          <p15:clr>
            <a:srgbClr val="A4A3A4"/>
          </p15:clr>
        </p15:guide>
        <p15:guide id="11" orient="horz" pos="623">
          <p15:clr>
            <a:srgbClr val="A4A3A4"/>
          </p15:clr>
        </p15:guide>
        <p15:guide id="12" orient="horz" pos="4085">
          <p15:clr>
            <a:srgbClr val="A4A3A4"/>
          </p15:clr>
        </p15:guide>
        <p15:guide id="13" orient="horz" pos="1219">
          <p15:clr>
            <a:srgbClr val="A4A3A4"/>
          </p15:clr>
        </p15:guide>
        <p15:guide id="14" orient="horz" pos="1989">
          <p15:clr>
            <a:srgbClr val="A4A3A4"/>
          </p15:clr>
        </p15:guide>
        <p15:guide id="15" orient="horz" pos="2745">
          <p15:clr>
            <a:srgbClr val="A4A3A4"/>
          </p15:clr>
        </p15:guide>
        <p15:guide id="16" orient="horz" pos="3759">
          <p15:clr>
            <a:srgbClr val="A4A3A4"/>
          </p15:clr>
        </p15:guide>
        <p15:guide id="17" orient="horz" pos="4319">
          <p15:clr>
            <a:srgbClr val="A4A3A4"/>
          </p15:clr>
        </p15:guide>
        <p15:guide id="18" orient="horz" pos="4199">
          <p15:clr>
            <a:srgbClr val="A4A3A4"/>
          </p15:clr>
        </p15:guide>
        <p15:guide id="19" orient="horz" pos="3537">
          <p15:clr>
            <a:srgbClr val="A4A3A4"/>
          </p15:clr>
        </p15:guide>
        <p15:guide id="20" pos="5759">
          <p15:clr>
            <a:srgbClr val="A4A3A4"/>
          </p15:clr>
        </p15:guide>
        <p15:guide id="21">
          <p15:clr>
            <a:srgbClr val="A4A3A4"/>
          </p15:clr>
        </p15:guide>
        <p15:guide id="22" pos="2880">
          <p15:clr>
            <a:srgbClr val="A4A3A4"/>
          </p15:clr>
        </p15:guide>
        <p15:guide id="23" pos="2064">
          <p15:clr>
            <a:srgbClr val="A4A3A4"/>
          </p15:clr>
        </p15:guide>
        <p15:guide id="24" pos="246">
          <p15:clr>
            <a:srgbClr val="A4A3A4"/>
          </p15:clr>
        </p15:guide>
        <p15:guide id="25" pos="5513">
          <p15:clr>
            <a:srgbClr val="A4A3A4"/>
          </p15:clr>
        </p15:guide>
        <p15:guide id="26" pos="4326">
          <p15:clr>
            <a:srgbClr val="A4A3A4"/>
          </p15:clr>
        </p15:guide>
        <p15:guide id="27" pos="12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, Veronica" initials="LV" lastIdx="1" clrIdx="0">
    <p:extLst>
      <p:ext uri="{19B8F6BF-5375-455C-9EA6-DF929625EA0E}">
        <p15:presenceInfo xmlns:p15="http://schemas.microsoft.com/office/powerpoint/2012/main" userId="S-1-5-21-602162358-1844823847-725345543-152889" providerId="AD"/>
      </p:ext>
    </p:extLst>
  </p:cmAuthor>
  <p:cmAuthor id="2" name="Baldesare, Jason" initials="BJ" lastIdx="1" clrIdx="1">
    <p:extLst>
      <p:ext uri="{19B8F6BF-5375-455C-9EA6-DF929625EA0E}">
        <p15:presenceInfo xmlns:p15="http://schemas.microsoft.com/office/powerpoint/2012/main" userId="S-1-5-21-602162358-1844823847-725345543-275779" providerId="AD"/>
      </p:ext>
    </p:extLst>
  </p:cmAuthor>
  <p:cmAuthor id="3" name="Durga, Amar" initials="DA" lastIdx="0" clrIdx="2">
    <p:extLst>
      <p:ext uri="{19B8F6BF-5375-455C-9EA6-DF929625EA0E}">
        <p15:presenceInfo xmlns:p15="http://schemas.microsoft.com/office/powerpoint/2012/main" userId="S::Amar.Durga@FISGLOBAL.COM::86bdeff0-caaa-48ac-9629-fb8d8e172ce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981D97"/>
    <a:srgbClr val="007FA3"/>
    <a:srgbClr val="8C8D8D"/>
    <a:srgbClr val="F1F2F2"/>
    <a:srgbClr val="898989"/>
    <a:srgbClr val="FFFFFF"/>
    <a:srgbClr val="88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03" autoAdjust="0"/>
    <p:restoredTop sz="93775" autoAdjust="0"/>
  </p:normalViewPr>
  <p:slideViewPr>
    <p:cSldViewPr snapToGrid="0" snapToObjects="1" showGuides="1">
      <p:cViewPr varScale="1">
        <p:scale>
          <a:sx n="66" d="100"/>
          <a:sy n="66" d="100"/>
        </p:scale>
        <p:origin x="734" y="45"/>
      </p:cViewPr>
      <p:guideLst>
        <p:guide orient="horz" pos="2889"/>
        <p:guide orient="horz" pos="696"/>
        <p:guide orient="horz" pos="926"/>
        <p:guide orient="horz" pos="2657"/>
        <p:guide orient="horz" pos="232"/>
        <p:guide orient="horz" pos="487"/>
        <p:guide pos="241"/>
        <p:guide orient="horz"/>
        <p:guide orient="horz" pos="1659"/>
        <p:guide orient="horz" pos="3639"/>
        <p:guide orient="horz" pos="623"/>
        <p:guide orient="horz" pos="4085"/>
        <p:guide orient="horz" pos="1219"/>
        <p:guide orient="horz" pos="1989"/>
        <p:guide orient="horz" pos="2745"/>
        <p:guide orient="horz" pos="3759"/>
        <p:guide orient="horz" pos="4319"/>
        <p:guide orient="horz" pos="4199"/>
        <p:guide orient="horz" pos="3537"/>
        <p:guide pos="5759"/>
        <p:guide/>
        <p:guide pos="2880"/>
        <p:guide pos="2064"/>
        <p:guide pos="246"/>
        <p:guide pos="5513"/>
        <p:guide pos="4326"/>
        <p:guide pos="1296"/>
      </p:guideLst>
    </p:cSldViewPr>
  </p:slideViewPr>
  <p:outlineViewPr>
    <p:cViewPr>
      <p:scale>
        <a:sx n="33" d="100"/>
        <a:sy n="33" d="100"/>
      </p:scale>
      <p:origin x="0" y="1375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-882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993E57-F06E-2343-8505-8306C931B374}" type="datetimeFigureOut">
              <a:rPr lang="en-US" smtClean="0"/>
              <a:pPr/>
              <a:t>12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BA0C0-C469-224C-A13F-1126ACE849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6766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E71FE8-551B-41D8-8E66-7D01683EE4D2}" type="datetimeFigureOut">
              <a:rPr lang="fi-FI" smtClean="0"/>
              <a:pPr/>
              <a:t>3.12.2021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65BE45-5FCE-418C-8A7C-9AF791EA8C8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294112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87351"/>
            <a:ext cx="28332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644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096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quo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Ryhmä 1"/>
          <p:cNvGrpSpPr/>
          <p:nvPr userDrawn="1"/>
        </p:nvGrpSpPr>
        <p:grpSpPr>
          <a:xfrm>
            <a:off x="856145" y="1089791"/>
            <a:ext cx="7460544" cy="4795200"/>
            <a:chOff x="856145" y="813567"/>
            <a:chExt cx="7460544" cy="3595304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856145" y="813567"/>
              <a:ext cx="7460544" cy="3526379"/>
            </a:xfrm>
            <a:custGeom>
              <a:avLst/>
              <a:gdLst>
                <a:gd name="T0" fmla="*/ 16977 w 20595"/>
                <a:gd name="T1" fmla="*/ 8588 h 9733"/>
                <a:gd name="T2" fmla="*/ 20195 w 20595"/>
                <a:gd name="T3" fmla="*/ 8588 h 9733"/>
                <a:gd name="T4" fmla="*/ 20595 w 20595"/>
                <a:gd name="T5" fmla="*/ 8180 h 9733"/>
                <a:gd name="T6" fmla="*/ 20595 w 20595"/>
                <a:gd name="T7" fmla="*/ 408 h 9733"/>
                <a:gd name="T8" fmla="*/ 20195 w 20595"/>
                <a:gd name="T9" fmla="*/ 0 h 9733"/>
                <a:gd name="T10" fmla="*/ 401 w 20595"/>
                <a:gd name="T11" fmla="*/ 0 h 9733"/>
                <a:gd name="T12" fmla="*/ 0 w 20595"/>
                <a:gd name="T13" fmla="*/ 408 h 9733"/>
                <a:gd name="T14" fmla="*/ 0 w 20595"/>
                <a:gd name="T15" fmla="*/ 8180 h 9733"/>
                <a:gd name="T16" fmla="*/ 401 w 20595"/>
                <a:gd name="T17" fmla="*/ 8588 h 9733"/>
                <a:gd name="T18" fmla="*/ 14425 w 20595"/>
                <a:gd name="T19" fmla="*/ 8588 h 9733"/>
                <a:gd name="T20" fmla="*/ 15538 w 20595"/>
                <a:gd name="T21" fmla="*/ 9733 h 9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95" h="9733">
                  <a:moveTo>
                    <a:pt x="16977" y="8588"/>
                  </a:moveTo>
                  <a:lnTo>
                    <a:pt x="20195" y="8588"/>
                  </a:lnTo>
                  <a:cubicBezTo>
                    <a:pt x="20195" y="8588"/>
                    <a:pt x="20595" y="8588"/>
                    <a:pt x="20595" y="8180"/>
                  </a:cubicBezTo>
                  <a:lnTo>
                    <a:pt x="20595" y="408"/>
                  </a:lnTo>
                  <a:cubicBezTo>
                    <a:pt x="20595" y="408"/>
                    <a:pt x="20595" y="0"/>
                    <a:pt x="20195" y="0"/>
                  </a:cubicBezTo>
                  <a:lnTo>
                    <a:pt x="401" y="0"/>
                  </a:lnTo>
                  <a:cubicBezTo>
                    <a:pt x="401" y="0"/>
                    <a:pt x="0" y="0"/>
                    <a:pt x="0" y="408"/>
                  </a:cubicBezTo>
                  <a:lnTo>
                    <a:pt x="0" y="8180"/>
                  </a:lnTo>
                  <a:cubicBezTo>
                    <a:pt x="0" y="8180"/>
                    <a:pt x="0" y="8588"/>
                    <a:pt x="401" y="8588"/>
                  </a:cubicBezTo>
                  <a:lnTo>
                    <a:pt x="14425" y="8588"/>
                  </a:lnTo>
                  <a:lnTo>
                    <a:pt x="15538" y="9733"/>
                  </a:lnTo>
                </a:path>
              </a:pathLst>
            </a:custGeom>
            <a:noFill/>
            <a:ln w="187325" cap="rnd">
              <a:solidFill>
                <a:srgbClr val="A4D16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6391864" y="4268419"/>
              <a:ext cx="185933" cy="140452"/>
            </a:xfrm>
            <a:prstGeom prst="ellipse">
              <a:avLst/>
            </a:prstGeom>
            <a:solidFill>
              <a:srgbClr val="8D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71600" y="1219201"/>
            <a:ext cx="7219254" cy="3885708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tx2"/>
                </a:solidFill>
              </a:defRPr>
            </a:lvl1pPr>
            <a:lvl2pPr marL="88900" indent="0">
              <a:buFontTx/>
              <a:buNone/>
              <a:defRPr sz="3600"/>
            </a:lvl2pPr>
            <a:lvl3pPr marL="268287" indent="0">
              <a:buFontTx/>
              <a:buNone/>
              <a:defRPr sz="3600"/>
            </a:lvl3pPr>
            <a:lvl4pPr marL="447675" indent="0">
              <a:buFontTx/>
              <a:buNone/>
              <a:defRPr sz="3600"/>
            </a:lvl4pPr>
            <a:lvl5pPr marL="627062" indent="0">
              <a:buFontTx/>
              <a:buNone/>
              <a:defRPr sz="3600"/>
            </a:lvl5pPr>
          </a:lstStyle>
          <a:p>
            <a:pPr lvl="0"/>
            <a:r>
              <a:rPr lang="fi-FI" dirty="0"/>
              <a:t>Type quote</a:t>
            </a:r>
          </a:p>
        </p:txBody>
      </p:sp>
    </p:spTree>
    <p:extLst>
      <p:ext uri="{BB962C8B-B14F-4D97-AF65-F5344CB8AC3E}">
        <p14:creationId xmlns:p14="http://schemas.microsoft.com/office/powerpoint/2010/main" val="16990781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2112" y="1655764"/>
            <a:ext cx="4068000" cy="4511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691008" y="1655764"/>
            <a:ext cx="4052750" cy="45116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Tx/>
              <a:buFont typeface="Calibri" panose="020F0502020204030204" pitchFamily="34" charset="0"/>
              <a:buNone/>
              <a:tabLst/>
              <a:defRPr/>
            </a:lvl1pPr>
          </a:lstStyle>
          <a:p>
            <a:r>
              <a:rPr lang="fi-FI" dirty="0"/>
              <a:t>Click icon to add picture</a:t>
            </a:r>
            <a:br>
              <a:rPr lang="fi-FI" dirty="0"/>
            </a:br>
            <a:br>
              <a:rPr lang="fi-FI" dirty="0"/>
            </a:br>
            <a:r>
              <a:rPr lang="en-US" cap="none" baseline="0" dirty="0"/>
              <a:t>Go to the speaker notes of this slide for instructions on how to add picture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576939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-2" y="0"/>
            <a:ext cx="9144001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00" y="2886674"/>
            <a:ext cx="4716000" cy="1084653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39468" y="6476563"/>
            <a:ext cx="65888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dirty="0">
                <a:solidFill>
                  <a:schemeClr val="bg1"/>
                </a:solidFill>
              </a:rPr>
              <a:t>©2016 FIS and/or its subsidiaries. All Rights Reserved.</a:t>
            </a:r>
            <a:r>
              <a:rPr lang="en-US" sz="800" b="1" i="1" baseline="0" dirty="0">
                <a:solidFill>
                  <a:schemeClr val="bg1"/>
                </a:solidFill>
              </a:rPr>
              <a:t> </a:t>
            </a:r>
            <a:r>
              <a:rPr lang="en-US" sz="800" b="1" i="1" dirty="0">
                <a:solidFill>
                  <a:schemeClr val="bg1"/>
                </a:solidFill>
                <a:cs typeface="Arial"/>
              </a:rPr>
              <a:t>FIS confidential and proprietary information. </a:t>
            </a:r>
          </a:p>
        </p:txBody>
      </p:sp>
    </p:spTree>
    <p:extLst>
      <p:ext uri="{BB962C8B-B14F-4D97-AF65-F5344CB8AC3E}">
        <p14:creationId xmlns:p14="http://schemas.microsoft.com/office/powerpoint/2010/main" val="25955618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picture dark tex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408256"/>
            <a:ext cx="9144000" cy="1234440"/>
          </a:xfrm>
          <a:prstGeom prst="rect">
            <a:avLst/>
          </a:prstGeom>
        </p:spPr>
      </p:pic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676276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2643238"/>
            <a:ext cx="6012000" cy="107627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4345851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4106284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</p:spTree>
    <p:extLst>
      <p:ext uri="{BB962C8B-B14F-4D97-AF65-F5344CB8AC3E}">
        <p14:creationId xmlns:p14="http://schemas.microsoft.com/office/powerpoint/2010/main" val="3179440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6437376"/>
            <a:ext cx="64008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599" y="271709"/>
            <a:ext cx="4114802" cy="5972459"/>
          </a:xfrm>
        </p:spPr>
        <p:txBody>
          <a:bodyPr/>
          <a:lstStyle>
            <a:lvl1pPr>
              <a:lnSpc>
                <a:spcPct val="9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2" y="6273801"/>
            <a:ext cx="521589" cy="2819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1" t="20400" r="17675" b="20719"/>
          <a:stretch/>
        </p:blipFill>
        <p:spPr>
          <a:xfrm>
            <a:off x="4467226" y="540364"/>
            <a:ext cx="4297421" cy="4916867"/>
          </a:xfrm>
          <a:prstGeom prst="rect">
            <a:avLst/>
          </a:prstGeom>
        </p:spPr>
      </p:pic>
      <p:pic>
        <p:nvPicPr>
          <p:cNvPr id="8" name="Picture 7" descr="ibm_gry.png"/>
          <p:cNvPicPr>
            <a:picLocks noChangeAspect="1"/>
          </p:cNvPicPr>
          <p:nvPr userDrawn="1"/>
        </p:nvPicPr>
        <p:blipFill>
          <a:blip r:embed="rId4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2" y="320060"/>
            <a:ext cx="521589" cy="28196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72" t="28443" r="13568" b="27421"/>
          <a:stretch/>
        </p:blipFill>
        <p:spPr>
          <a:xfrm>
            <a:off x="7410685" y="6112935"/>
            <a:ext cx="1620428" cy="627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2596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8600" y="268224"/>
            <a:ext cx="4114800" cy="5991670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048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80417"/>
            <a:ext cx="4114800" cy="1338410"/>
          </a:xfrm>
        </p:spPr>
        <p:txBody>
          <a:bodyPr/>
          <a:lstStyle>
            <a:lvl1pPr>
              <a:defRPr sz="160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2015407"/>
            <a:ext cx="41148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345375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53570"/>
            <a:ext cx="8686800" cy="5964767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0619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8225"/>
            <a:ext cx="5187462" cy="6027740"/>
          </a:xfrm>
        </p:spPr>
        <p:txBody>
          <a:bodyPr/>
          <a:lstStyle>
            <a:lvl1pPr marL="117477" indent="-117477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Cloud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356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382588" y="1409701"/>
            <a:ext cx="6012000" cy="1833019"/>
          </a:xfrm>
        </p:spPr>
        <p:txBody>
          <a:bodyPr anchor="b" anchorCtr="0">
            <a:noAutofit/>
          </a:bodyPr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Presentation tit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82588" y="3376662"/>
            <a:ext cx="6012000" cy="171603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>
                <a:solidFill>
                  <a:schemeClr val="bg1"/>
                </a:solidFill>
              </a:defRPr>
            </a:lvl1pPr>
            <a:lvl2pPr>
              <a:defRPr>
                <a:solidFill>
                  <a:srgbClr val="004F71"/>
                </a:solidFill>
              </a:defRPr>
            </a:lvl2pPr>
            <a:lvl3pPr>
              <a:defRPr>
                <a:solidFill>
                  <a:srgbClr val="004F71"/>
                </a:solidFill>
              </a:defRPr>
            </a:lvl3pPr>
            <a:lvl4pPr>
              <a:defRPr>
                <a:solidFill>
                  <a:srgbClr val="004F71"/>
                </a:solidFill>
              </a:defRPr>
            </a:lvl4pPr>
            <a:lvl5pPr>
              <a:defRPr>
                <a:solidFill>
                  <a:srgbClr val="004F71"/>
                </a:solidFill>
              </a:defRPr>
            </a:lvl5pPr>
          </a:lstStyle>
          <a:p>
            <a:pPr lvl="0"/>
            <a:r>
              <a:rPr lang="fi-FI" dirty="0"/>
              <a:t>Presentation subtitle</a:t>
            </a:r>
          </a:p>
        </p:txBody>
      </p:sp>
      <p:sp>
        <p:nvSpPr>
          <p:cNvPr id="21" name="Tekstin paikkamerkki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600" y="5796876"/>
            <a:ext cx="2833200" cy="216000"/>
          </a:xfrm>
        </p:spPr>
        <p:txBody>
          <a:bodyPr/>
          <a:lstStyle>
            <a:lvl1pPr marL="0" indent="0">
              <a:buFontTx/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dirty="0" err="1"/>
              <a:t>Date</a:t>
            </a:r>
            <a:endParaRPr lang="fi-FI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2588" y="5557309"/>
            <a:ext cx="4320000" cy="216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peaker name,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639" y="5374990"/>
            <a:ext cx="297398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049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548640"/>
            <a:ext cx="4114800" cy="57707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658368"/>
            <a:ext cx="4114800" cy="5599640"/>
          </a:xfrm>
        </p:spPr>
        <p:txBody>
          <a:bodyPr/>
          <a:lstStyle>
            <a:lvl1pPr>
              <a:spcBef>
                <a:spcPts val="1100"/>
              </a:spcBef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  <a:lvl3pPr>
              <a:spcBef>
                <a:spcPts val="1100"/>
              </a:spcBef>
              <a:defRPr/>
            </a:lvl3pPr>
            <a:lvl4pPr>
              <a:spcBef>
                <a:spcPts val="1100"/>
              </a:spcBef>
              <a:defRPr/>
            </a:lvl4pPr>
            <a:lvl5pPr>
              <a:spcBef>
                <a:spcPts val="1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67418"/>
            <a:ext cx="4114800" cy="400050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70631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8224"/>
            <a:ext cx="41148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" y="1499618"/>
            <a:ext cx="4114800" cy="4781127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800600" y="1499618"/>
            <a:ext cx="4114800" cy="4781127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7520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548640"/>
            <a:ext cx="64008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457960"/>
            <a:ext cx="4114800" cy="4786208"/>
          </a:xfrm>
        </p:spPr>
        <p:txBody>
          <a:bodyPr/>
          <a:lstStyle>
            <a:lvl1pPr>
              <a:defRPr sz="160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68225"/>
            <a:ext cx="4114800" cy="400050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457962"/>
            <a:ext cx="4114800" cy="4786207"/>
          </a:xfrm>
        </p:spPr>
        <p:txBody>
          <a:bodyPr/>
          <a:lstStyle>
            <a:lvl1pPr>
              <a:defRPr sz="160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2897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8224"/>
            <a:ext cx="41148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28600" y="1327358"/>
            <a:ext cx="4114800" cy="491681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800600" y="1488866"/>
            <a:ext cx="4114800" cy="475530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6437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548640"/>
            <a:ext cx="41148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68225"/>
            <a:ext cx="4114800" cy="400050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463040"/>
            <a:ext cx="4114800" cy="4781127"/>
          </a:xfrm>
        </p:spPr>
        <p:txBody>
          <a:bodyPr/>
          <a:lstStyle>
            <a:lvl1pPr>
              <a:defRPr sz="160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886380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8224"/>
            <a:ext cx="41148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463040"/>
            <a:ext cx="1828800" cy="4781127"/>
          </a:xfrm>
        </p:spPr>
        <p:txBody>
          <a:bodyPr/>
          <a:lstStyle>
            <a:lvl1pPr>
              <a:spcBef>
                <a:spcPts val="1100"/>
              </a:spcBef>
              <a:defRPr sz="1601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514600" y="1463040"/>
            <a:ext cx="1828800" cy="4781127"/>
          </a:xfrm>
        </p:spPr>
        <p:txBody>
          <a:bodyPr/>
          <a:lstStyle>
            <a:lvl1pPr>
              <a:defRPr sz="1601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1923653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77696"/>
            <a:ext cx="41148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463041"/>
            <a:ext cx="1828800" cy="4668594"/>
          </a:xfrm>
        </p:spPr>
        <p:txBody>
          <a:bodyPr/>
          <a:lstStyle>
            <a:lvl1pPr>
              <a:defRPr sz="1601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68225"/>
            <a:ext cx="4114800" cy="400050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086600" y="1463041"/>
            <a:ext cx="1828800" cy="4668594"/>
          </a:xfrm>
        </p:spPr>
        <p:txBody>
          <a:bodyPr/>
          <a:lstStyle>
            <a:lvl1pPr>
              <a:defRPr sz="1601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9744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77696"/>
            <a:ext cx="4114800" cy="47548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800600" y="1499617"/>
            <a:ext cx="4114800" cy="466859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100"/>
              </a:spcBef>
              <a:buFontTx/>
              <a:buNone/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68225"/>
            <a:ext cx="4114800" cy="400050"/>
          </a:xfrm>
        </p:spPr>
        <p:txBody>
          <a:bodyPr/>
          <a:lstStyle>
            <a:lvl1pPr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9692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2" y="3429000"/>
            <a:ext cx="4572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28600" y="256033"/>
            <a:ext cx="4114800" cy="400050"/>
          </a:xfrm>
        </p:spPr>
        <p:txBody>
          <a:bodyPr/>
          <a:lstStyle>
            <a:lvl1pPr>
              <a:defRPr sz="160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28600" y="1463040"/>
            <a:ext cx="4114800" cy="4651642"/>
          </a:xfrm>
        </p:spPr>
        <p:txBody>
          <a:bodyPr/>
          <a:lstStyle>
            <a:lvl1pPr>
              <a:defRPr sz="1601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59484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2" y="3429000"/>
            <a:ext cx="4572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4572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572000" y="0"/>
            <a:ext cx="2286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-1"/>
            <a:ext cx="4571999" cy="3429002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123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2588" y="550399"/>
            <a:ext cx="2880000" cy="912000"/>
          </a:xfrm>
        </p:spPr>
        <p:txBody>
          <a:bodyPr>
            <a:noAutofit/>
          </a:bodyPr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ection #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587" y="1585381"/>
            <a:ext cx="2880000" cy="2976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Type section tit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0"/>
          <a:stretch/>
        </p:blipFill>
        <p:spPr>
          <a:xfrm>
            <a:off x="3275215" y="-2049"/>
            <a:ext cx="5868785" cy="6860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91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857999" y="3429000"/>
            <a:ext cx="2286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2286000" y="3429000"/>
            <a:ext cx="228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4572002" y="3429000"/>
            <a:ext cx="2285997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2286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-1"/>
            <a:ext cx="9143999" cy="3429002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9639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-1"/>
            <a:ext cx="9143999" cy="103163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7559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2286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001">
                <a:solidFill>
                  <a:schemeClr val="bg2"/>
                </a:solidFill>
              </a:defRPr>
            </a:lvl2pPr>
            <a:lvl3pPr>
              <a:defRPr sz="1001">
                <a:solidFill>
                  <a:schemeClr val="bg2"/>
                </a:solidFill>
              </a:defRPr>
            </a:lvl3pPr>
            <a:lvl4pPr>
              <a:defRPr sz="1001">
                <a:solidFill>
                  <a:schemeClr val="bg2"/>
                </a:solidFill>
              </a:defRPr>
            </a:lvl4pPr>
            <a:lvl5pPr>
              <a:defRPr sz="100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0006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2"/>
            <a:ext cx="2286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1601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2286000" y="0"/>
            <a:ext cx="2286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4572000" y="0"/>
            <a:ext cx="2286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858000" y="0"/>
            <a:ext cx="2286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4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Cloud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7089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8224"/>
            <a:ext cx="4114800" cy="11933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463041"/>
            <a:ext cx="1828800" cy="4668594"/>
          </a:xfrm>
        </p:spPr>
        <p:txBody>
          <a:bodyPr/>
          <a:lstStyle>
            <a:lvl1pPr>
              <a:defRPr sz="1601"/>
            </a:lvl1pPr>
            <a:lvl2pPr marL="0" indent="0">
              <a:spcBef>
                <a:spcPts val="1100"/>
              </a:spcBef>
              <a:buFontTx/>
              <a:buNone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4425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72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3341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8224"/>
            <a:ext cx="41148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28600" y="1524000"/>
            <a:ext cx="41148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3940225" algn="dec"/>
              </a:tabLst>
              <a:defRPr sz="1100"/>
            </a:lvl1pPr>
            <a:lvl2pPr marL="173040" indent="-173040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457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023410" algn="r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32244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Cloud / DOC ID / Month XX, 2017 / © 2017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953" y="2914869"/>
            <a:ext cx="1297608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38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C76C06-3348-CB45-862D-C02A291D7C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467535-3C2A-EF42-ABB6-EFABE44EBE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664622-68E4-2D46-82C7-1B422F224E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1224D30-795A-FE4A-B67C-B2D562A49230}" type="datetimeFigureOut">
              <a:rPr lang="en-US" smtClean="0"/>
              <a:t>1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89ACE8-9229-AA4B-861F-9C16D944C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74ADD8-EAA3-3A4A-8C17-BA9CC7EE0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C95F8-12EC-A149-9EDE-6971C95B6C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096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8339" y="6528824"/>
            <a:ext cx="468000" cy="180000"/>
          </a:xfrm>
        </p:spPr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90526" y="1656196"/>
            <a:ext cx="8353233" cy="45112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55517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Shape 7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1765477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29811A-1E48-244A-8CA2-17F0D59E7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EEBD1-B54A-B940-AFCB-E473C0987E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6F6C3C-DD27-E347-869F-E47E08DAC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15DF26-5BA6-9E45-B5B0-FB7341BC9350}" type="datetimeFigureOut">
              <a:rPr lang="en-US" smtClean="0"/>
              <a:t>1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1917DB-3EFA-8045-B36F-3FAF87B56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DB4655-2B8D-DA42-8D1B-8F30E3DAE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51FAF-A1EE-764C-AE72-EE36E6B81C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480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63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272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90526" y="1833032"/>
            <a:ext cx="8353233" cy="43344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83792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660524"/>
            <a:ext cx="4097192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660524"/>
            <a:ext cx="4096800" cy="4506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284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8313" y="1828800"/>
            <a:ext cx="4097192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4633577" y="1828800"/>
            <a:ext cx="4096800" cy="4338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89013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74903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396" y="993871"/>
            <a:ext cx="8361362" cy="684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7279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52601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750000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600" b="1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2588" y="511079"/>
            <a:ext cx="8361170" cy="10435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88339" y="6528824"/>
            <a:ext cx="468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60C2248-B95D-984B-A0F4-42B9A4652A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3604" y="1660526"/>
            <a:ext cx="8350154" cy="45069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/>
              <a:t>Click to edit Master text styles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04" y="6404902"/>
            <a:ext cx="61379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296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88" r:id="rId2"/>
    <p:sldLayoutId id="2147483752" r:id="rId3"/>
    <p:sldLayoutId id="2147483720" r:id="rId4"/>
    <p:sldLayoutId id="2147483764" r:id="rId5"/>
    <p:sldLayoutId id="2147483731" r:id="rId6"/>
    <p:sldLayoutId id="2147483721" r:id="rId7"/>
    <p:sldLayoutId id="2147483737" r:id="rId8"/>
    <p:sldLayoutId id="2147483723" r:id="rId9"/>
    <p:sldLayoutId id="2147483724" r:id="rId10"/>
    <p:sldLayoutId id="2147483734" r:id="rId11"/>
    <p:sldLayoutId id="2147483730" r:id="rId12"/>
    <p:sldLayoutId id="2147483751" r:id="rId13"/>
    <p:sldLayoutId id="2147483789" r:id="rId14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marR="0" indent="-18097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marR="0" indent="-180975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80000"/>
        <a:buFont typeface="Symbol" panose="05050102010706020507" pitchFamily="18" charset="2"/>
        <a:buChar char="·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Lucida Grande"/>
        <a:buChar char="–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marR="0" indent="-179388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457200" rtl="0" eaLnBrk="1" latinLnBrk="0" hangingPunct="1">
        <a:lnSpc>
          <a:spcPct val="110000"/>
        </a:lnSpc>
        <a:spcBef>
          <a:spcPts val="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68226"/>
            <a:ext cx="41148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0" y="256034"/>
            <a:ext cx="41148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58000" y="6435307"/>
            <a:ext cx="2057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228600" y="6435307"/>
            <a:ext cx="64008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IBM Cloud / DOC ID / </a:t>
            </a:r>
            <a:r>
              <a:rPr lang="de-DE" dirty="0" err="1"/>
              <a:t>Month</a:t>
            </a:r>
            <a:r>
              <a:rPr lang="de-DE" dirty="0"/>
              <a:t> XX, 2018 / © 2018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37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7" r:id="rId26"/>
    <p:sldLayoutId id="2147483818" r:id="rId27"/>
  </p:sldLayoutIdLst>
  <p:hf hdr="0" dt="0"/>
  <p:txStyles>
    <p:titleStyle>
      <a:lvl1pPr algn="l" defTabSz="457206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457206" rtl="0" eaLnBrk="1" latinLnBrk="0" hangingPunct="1">
        <a:lnSpc>
          <a:spcPct val="100000"/>
        </a:lnSpc>
        <a:spcBef>
          <a:spcPts val="1100"/>
        </a:spcBef>
        <a:buFont typeface="Arial"/>
        <a:buNone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73040" indent="-173040" algn="l" defTabSz="457206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396881" indent="-173040" algn="l" defTabSz="457206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•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25483" indent="-168278" algn="l" defTabSz="457206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–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803285" indent="-173040" algn="l" defTabSz="457206" rtl="0" eaLnBrk="1" latinLnBrk="0" hangingPunct="1">
        <a:lnSpc>
          <a:spcPct val="100000"/>
        </a:lnSpc>
        <a:spcBef>
          <a:spcPts val="1100"/>
        </a:spcBef>
        <a:spcAft>
          <a:spcPts val="0"/>
        </a:spcAft>
        <a:buFont typeface="Arial"/>
        <a:buChar char="»"/>
        <a:defRPr sz="14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32" indent="-228603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3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3" algn="l" defTabSz="45720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5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1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457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676275"/>
            <a:ext cx="9144000" cy="955577"/>
          </a:xfrm>
        </p:spPr>
        <p:txBody>
          <a:bodyPr/>
          <a:lstStyle/>
          <a:p>
            <a:pPr algn="ctr"/>
            <a:r>
              <a:rPr lang="en-US" sz="4000" dirty="0">
                <a:solidFill>
                  <a:schemeClr val="tx2">
                    <a:lumMod val="75000"/>
                  </a:schemeClr>
                </a:solidFill>
              </a:rPr>
              <a:t>Day 5 – Microservices Training</a:t>
            </a:r>
            <a:br>
              <a:rPr lang="en-US" sz="4000" dirty="0">
                <a:solidFill>
                  <a:schemeClr val="tx2">
                    <a:lumMod val="75000"/>
                  </a:schemeClr>
                </a:solidFill>
              </a:rPr>
            </a:br>
            <a:endParaRPr lang="en-US" sz="4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572586" y="4205171"/>
            <a:ext cx="2833200" cy="216000"/>
          </a:xfrm>
        </p:spPr>
        <p:txBody>
          <a:bodyPr/>
          <a:lstStyle/>
          <a:p>
            <a:pPr algn="r"/>
            <a:r>
              <a:rPr lang="en-US" b="1" dirty="0"/>
              <a:t> November – December 202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48162E-0388-4141-A473-A6FA80B8009A}"/>
              </a:ext>
            </a:extLst>
          </p:cNvPr>
          <p:cNvSpPr txBox="1"/>
          <p:nvPr/>
        </p:nvSpPr>
        <p:spPr>
          <a:xfrm>
            <a:off x="5880298" y="3291833"/>
            <a:ext cx="2532183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US" sz="1600" b="1" dirty="0"/>
              <a:t>Nikhil Damle</a:t>
            </a:r>
          </a:p>
          <a:p>
            <a:pPr algn="r"/>
            <a:r>
              <a:rPr lang="en-US" sz="1600" b="1" dirty="0"/>
              <a:t>Amar Durga</a:t>
            </a:r>
            <a:br>
              <a:rPr lang="en-US" sz="1600" b="1" dirty="0"/>
            </a:br>
            <a:r>
              <a:rPr lang="en-US" sz="1600" b="1" dirty="0"/>
              <a:t>Tatyasaheb Patil</a:t>
            </a:r>
            <a:endParaRPr lang="en-IN" sz="1600" b="1" dirty="0" err="1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B9C9F6-0CD0-437D-97F9-A4FDA7A8AA7B}"/>
              </a:ext>
            </a:extLst>
          </p:cNvPr>
          <p:cNvCxnSpPr>
            <a:cxnSpLocks/>
          </p:cNvCxnSpPr>
          <p:nvPr/>
        </p:nvCxnSpPr>
        <p:spPr>
          <a:xfrm>
            <a:off x="1631855" y="4098647"/>
            <a:ext cx="6766560" cy="0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A7BE91E-6B55-493E-897C-615AE24C5252}"/>
              </a:ext>
            </a:extLst>
          </p:cNvPr>
          <p:cNvCxnSpPr>
            <a:cxnSpLocks/>
          </p:cNvCxnSpPr>
          <p:nvPr/>
        </p:nvCxnSpPr>
        <p:spPr>
          <a:xfrm>
            <a:off x="2011680" y="4152571"/>
            <a:ext cx="6384387" cy="0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708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6522D9-58E3-45D8-AFF4-2741E003A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6419D1-D60F-4005-8218-EC0C5A455E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7138" y="450166"/>
            <a:ext cx="8353233" cy="586622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IN" sz="3600" spc="-100" dirty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Case Study</a:t>
            </a:r>
            <a:endParaRPr lang="en-IN" sz="3600" dirty="0">
              <a:latin typeface="+mj-lt"/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buNone/>
            </a:pPr>
            <a:r>
              <a:rPr lang="en-IN" sz="2400" spc="-1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Problem Statement</a:t>
            </a:r>
          </a:p>
          <a:p>
            <a:pPr marL="0" indent="0">
              <a:lnSpc>
                <a:spcPct val="125000"/>
              </a:lnSpc>
              <a:buNone/>
            </a:pPr>
            <a:r>
              <a:rPr lang="en-US" b="0" dirty="0">
                <a:cs typeface="Times New Roman" panose="02020603050405020304" pitchFamily="18" charset="0"/>
              </a:rPr>
              <a:t>	A Book Library needs a REST API to be created. The library has a few books and some subscribers. Every time a subscriber walks into the Library, the Librarian will check the list of Books for availability of copies. Once a Subscriber picks a book a subscription entry will be made by the Librarian to record it.</a:t>
            </a:r>
            <a:endParaRPr lang="en-IN" b="0" dirty="0"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buNone/>
            </a:pPr>
            <a:endParaRPr lang="en-IN" b="0" dirty="0">
              <a:cs typeface="Times New Roman" panose="02020603050405020304" pitchFamily="18" charset="0"/>
            </a:endParaRPr>
          </a:p>
        </p:txBody>
      </p:sp>
      <p:pic>
        <p:nvPicPr>
          <p:cNvPr id="5" name="Picture 4" descr="C:\Users\e1078719\AppData\Local\Microsoft\Windows\INetCache\Content.MSO\493EE8BA.tmp">
            <a:extLst>
              <a:ext uri="{FF2B5EF4-FFF2-40B4-BE49-F238E27FC236}">
                <a16:creationId xmlns:a16="http://schemas.microsoft.com/office/drawing/2014/main" id="{412FC5BD-0F8F-44E5-887C-B0C352F78B6A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038" y="3429000"/>
            <a:ext cx="5039924" cy="20820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4818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6522D9-58E3-45D8-AFF4-2741E003A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6419D1-D60F-4005-8218-EC0C5A455E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7138" y="717452"/>
            <a:ext cx="8353233" cy="559894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spc="-100" dirty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Database Tables</a:t>
            </a:r>
            <a:r>
              <a:rPr lang="en-IN" sz="2400" spc="-100" dirty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:</a:t>
            </a:r>
          </a:p>
          <a:p>
            <a:pPr marL="0" indent="0">
              <a:lnSpc>
                <a:spcPct val="125000"/>
              </a:lnSpc>
              <a:buNone/>
            </a:pPr>
            <a:r>
              <a:rPr lang="en-US" b="0" dirty="0">
                <a:cs typeface="Times New Roman" panose="02020603050405020304" pitchFamily="18" charset="0"/>
              </a:rPr>
              <a:t>The data will be stored in the following two Database tables </a:t>
            </a:r>
          </a:p>
          <a:p>
            <a:pPr marL="0" indent="0">
              <a:lnSpc>
                <a:spcPct val="125000"/>
              </a:lnSpc>
              <a:buNone/>
            </a:pPr>
            <a:r>
              <a:rPr lang="en-US" spc="-1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Book</a:t>
            </a:r>
            <a:r>
              <a:rPr lang="en-IN" spc="-1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:</a:t>
            </a:r>
          </a:p>
          <a:p>
            <a:pPr marL="0" indent="0">
              <a:lnSpc>
                <a:spcPct val="125000"/>
              </a:lnSpc>
              <a:buNone/>
            </a:pPr>
            <a:endParaRPr lang="en-US" b="0" dirty="0"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buNone/>
            </a:pPr>
            <a:endParaRPr lang="en-US" b="0" dirty="0"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buNone/>
            </a:pPr>
            <a:endParaRPr lang="en-US" b="0" dirty="0"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buNone/>
            </a:pPr>
            <a:r>
              <a:rPr lang="en-US" spc="-1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Subscription</a:t>
            </a:r>
            <a:r>
              <a:rPr lang="en-IN" spc="-1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: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DCE1C80-0FBF-402D-AC14-76E7A691C4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3417496"/>
              </p:ext>
            </p:extLst>
          </p:nvPr>
        </p:nvGraphicFramePr>
        <p:xfrm>
          <a:off x="517138" y="2047802"/>
          <a:ext cx="8109724" cy="118776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88524">
                  <a:extLst>
                    <a:ext uri="{9D8B030D-6E8A-4147-A177-3AD203B41FA5}">
                      <a16:colId xmlns:a16="http://schemas.microsoft.com/office/drawing/2014/main" val="2792369271"/>
                    </a:ext>
                  </a:extLst>
                </a:gridCol>
                <a:gridCol w="2250774">
                  <a:extLst>
                    <a:ext uri="{9D8B030D-6E8A-4147-A177-3AD203B41FA5}">
                      <a16:colId xmlns:a16="http://schemas.microsoft.com/office/drawing/2014/main" val="1087248923"/>
                    </a:ext>
                  </a:extLst>
                </a:gridCol>
                <a:gridCol w="1574241">
                  <a:extLst>
                    <a:ext uri="{9D8B030D-6E8A-4147-A177-3AD203B41FA5}">
                      <a16:colId xmlns:a16="http://schemas.microsoft.com/office/drawing/2014/main" val="767126409"/>
                    </a:ext>
                  </a:extLst>
                </a:gridCol>
                <a:gridCol w="1717353">
                  <a:extLst>
                    <a:ext uri="{9D8B030D-6E8A-4147-A177-3AD203B41FA5}">
                      <a16:colId xmlns:a16="http://schemas.microsoft.com/office/drawing/2014/main" val="2667779160"/>
                    </a:ext>
                  </a:extLst>
                </a:gridCol>
                <a:gridCol w="1478832">
                  <a:extLst>
                    <a:ext uri="{9D8B030D-6E8A-4147-A177-3AD203B41FA5}">
                      <a16:colId xmlns:a16="http://schemas.microsoft.com/office/drawing/2014/main" val="1155075592"/>
                    </a:ext>
                  </a:extLst>
                </a:gridCol>
              </a:tblGrid>
              <a:tr h="395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OOK_ID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OOK_NAME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UTHOR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VAILABLE_COPIES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TOTAL_COPIES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5538454"/>
                  </a:ext>
                </a:extLst>
              </a:tr>
              <a:tr h="395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1212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History of Amazon Valley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oss Suarez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0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1266141"/>
                  </a:ext>
                </a:extLst>
              </a:tr>
              <a:tr h="395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4232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Language Fundamentals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H S Parkmay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5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74297491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4334951-5D5E-4394-8F5F-BE2862FEE3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2424073"/>
              </p:ext>
            </p:extLst>
          </p:nvPr>
        </p:nvGraphicFramePr>
        <p:xfrm>
          <a:off x="517138" y="3908171"/>
          <a:ext cx="8109724" cy="13154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6997">
                  <a:extLst>
                    <a:ext uri="{9D8B030D-6E8A-4147-A177-3AD203B41FA5}">
                      <a16:colId xmlns:a16="http://schemas.microsoft.com/office/drawing/2014/main" val="1816030131"/>
                    </a:ext>
                  </a:extLst>
                </a:gridCol>
                <a:gridCol w="2026997">
                  <a:extLst>
                    <a:ext uri="{9D8B030D-6E8A-4147-A177-3AD203B41FA5}">
                      <a16:colId xmlns:a16="http://schemas.microsoft.com/office/drawing/2014/main" val="1252647935"/>
                    </a:ext>
                  </a:extLst>
                </a:gridCol>
                <a:gridCol w="2027865">
                  <a:extLst>
                    <a:ext uri="{9D8B030D-6E8A-4147-A177-3AD203B41FA5}">
                      <a16:colId xmlns:a16="http://schemas.microsoft.com/office/drawing/2014/main" val="3961430970"/>
                    </a:ext>
                  </a:extLst>
                </a:gridCol>
                <a:gridCol w="2027865">
                  <a:extLst>
                    <a:ext uri="{9D8B030D-6E8A-4147-A177-3AD203B41FA5}">
                      <a16:colId xmlns:a16="http://schemas.microsoft.com/office/drawing/2014/main" val="1398852803"/>
                    </a:ext>
                  </a:extLst>
                </a:gridCol>
              </a:tblGrid>
              <a:tr h="3380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UBSCRIBER_NAME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ATE_SUBSCRIBED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DATE_RETURNED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OOK_ID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1992250"/>
                  </a:ext>
                </a:extLst>
              </a:tr>
              <a:tr h="3258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John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2-JUN-2020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1212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67635289"/>
                  </a:ext>
                </a:extLst>
              </a:tr>
              <a:tr h="3258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ark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6-APR-2020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4-May-2020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B4232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84345815"/>
                  </a:ext>
                </a:extLst>
              </a:tr>
              <a:tr h="3258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eter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2-JUN-2020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1212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089025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09832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6522D9-58E3-45D8-AFF4-2741E003A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6419D1-D60F-4005-8218-EC0C5A455E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7138" y="450167"/>
            <a:ext cx="8353233" cy="147710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N" sz="2400" spc="-100" dirty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REST API</a:t>
            </a:r>
          </a:p>
          <a:p>
            <a:pPr marL="0" indent="0">
              <a:lnSpc>
                <a:spcPct val="125000"/>
              </a:lnSpc>
              <a:buNone/>
            </a:pPr>
            <a:r>
              <a:rPr lang="en-US" b="0" dirty="0">
                <a:cs typeface="Times New Roman" panose="02020603050405020304" pitchFamily="18" charset="0"/>
              </a:rPr>
              <a:t>Please create the following three REST APIs (using a </a:t>
            </a:r>
            <a:r>
              <a:rPr lang="en-US" b="0" dirty="0" err="1">
                <a:cs typeface="Times New Roman" panose="02020603050405020304" pitchFamily="18" charset="0"/>
              </a:rPr>
              <a:t>SpringBoot</a:t>
            </a:r>
            <a:r>
              <a:rPr lang="en-US" b="0" dirty="0">
                <a:cs typeface="Times New Roman" panose="02020603050405020304" pitchFamily="18" charset="0"/>
              </a:rPr>
              <a:t> application) to help the Librarian with his daily functions. The APIs will be used to fetch a list of Books, fetch a list of Subscriptions and create a new Subscription record.</a:t>
            </a:r>
            <a:endParaRPr lang="en-IN" b="0" dirty="0">
              <a:cs typeface="Times New Roman" panose="02020603050405020304" pitchFamily="18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20D8FAD-4D12-49F9-A67D-4CEE31202A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6711007"/>
              </p:ext>
            </p:extLst>
          </p:nvPr>
        </p:nvGraphicFramePr>
        <p:xfrm>
          <a:off x="517137" y="2191320"/>
          <a:ext cx="8239201" cy="23947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33444">
                  <a:extLst>
                    <a:ext uri="{9D8B030D-6E8A-4147-A177-3AD203B41FA5}">
                      <a16:colId xmlns:a16="http://schemas.microsoft.com/office/drawing/2014/main" val="3435781926"/>
                    </a:ext>
                  </a:extLst>
                </a:gridCol>
                <a:gridCol w="5705757">
                  <a:extLst>
                    <a:ext uri="{9D8B030D-6E8A-4147-A177-3AD203B41FA5}">
                      <a16:colId xmlns:a16="http://schemas.microsoft.com/office/drawing/2014/main" val="1634046477"/>
                    </a:ext>
                  </a:extLst>
                </a:gridCol>
              </a:tblGrid>
              <a:tr h="1927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RL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GET /books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18534382"/>
                  </a:ext>
                </a:extLst>
              </a:tr>
              <a:tr h="1927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sponse Body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rray of Book objects. Each object would contain details of the Book.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47046158"/>
                  </a:ext>
                </a:extLst>
              </a:tr>
              <a:tr h="18164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sponse JSON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[</a:t>
                      </a:r>
                      <a:endParaRPr lang="en-IN" sz="1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  {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     bookId : “string”,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     name : “string”,</a:t>
                      </a:r>
                      <a:endParaRPr lang="en-IN" sz="1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     author : “string”,</a:t>
                      </a:r>
                      <a:endParaRPr lang="en-IN" sz="1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     copiesAvailable : number,</a:t>
                      </a:r>
                      <a:endParaRPr lang="en-IN" sz="1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     totalCopies : number</a:t>
                      </a:r>
                      <a:endParaRPr lang="en-IN" sz="1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  }</a:t>
                      </a:r>
                      <a:endParaRPr lang="en-IN" sz="1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]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29263401"/>
                  </a:ext>
                </a:extLst>
              </a:tr>
              <a:tr h="1927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sponse Http Status code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00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921379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06696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6522D9-58E3-45D8-AFF4-2741E003A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4F52772-F1A3-4BC4-822D-2E2B272517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5385793"/>
              </p:ext>
            </p:extLst>
          </p:nvPr>
        </p:nvGraphicFramePr>
        <p:xfrm>
          <a:off x="516987" y="300672"/>
          <a:ext cx="7937695" cy="29630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0735">
                  <a:extLst>
                    <a:ext uri="{9D8B030D-6E8A-4147-A177-3AD203B41FA5}">
                      <a16:colId xmlns:a16="http://schemas.microsoft.com/office/drawing/2014/main" val="3793240254"/>
                    </a:ext>
                  </a:extLst>
                </a:gridCol>
                <a:gridCol w="5496960">
                  <a:extLst>
                    <a:ext uri="{9D8B030D-6E8A-4147-A177-3AD203B41FA5}">
                      <a16:colId xmlns:a16="http://schemas.microsoft.com/office/drawing/2014/main" val="3038924824"/>
                    </a:ext>
                  </a:extLst>
                </a:gridCol>
              </a:tblGrid>
              <a:tr h="1908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RL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GET /subscriptions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72459067"/>
                  </a:ext>
                </a:extLst>
              </a:tr>
              <a:tr h="3917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sponse Body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rray of Subscription objects. Each object would contain details of the books subscribed.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38412237"/>
                  </a:ext>
                </a:extLst>
              </a:tr>
              <a:tr h="3917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Optional Query parameter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ubscriberName. </a:t>
                      </a:r>
                      <a:br>
                        <a:rPr lang="en-US" sz="1100">
                          <a:effectLst/>
                        </a:rPr>
                      </a:br>
                      <a:r>
                        <a:rPr lang="en-US" sz="1100">
                          <a:effectLst/>
                        </a:rPr>
                        <a:t>If provided, show the record for that particular subscriber name.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17924126"/>
                  </a:ext>
                </a:extLst>
              </a:tr>
              <a:tr h="15971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sponse JSON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[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  {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     </a:t>
                      </a:r>
                      <a:r>
                        <a:rPr lang="en-US" sz="1100" dirty="0" err="1">
                          <a:effectLst/>
                        </a:rPr>
                        <a:t>subscriberName</a:t>
                      </a:r>
                      <a:r>
                        <a:rPr lang="en-US" sz="1100" dirty="0">
                          <a:effectLst/>
                        </a:rPr>
                        <a:t> : “string”,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     </a:t>
                      </a:r>
                      <a:r>
                        <a:rPr lang="en-US" sz="1100" dirty="0" err="1">
                          <a:effectLst/>
                        </a:rPr>
                        <a:t>bookId</a:t>
                      </a:r>
                      <a:r>
                        <a:rPr lang="en-US" sz="1100" dirty="0">
                          <a:effectLst/>
                        </a:rPr>
                        <a:t> : “string”,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     </a:t>
                      </a:r>
                      <a:r>
                        <a:rPr lang="en-US" sz="1100" dirty="0" err="1">
                          <a:effectLst/>
                        </a:rPr>
                        <a:t>dateSubscribed</a:t>
                      </a:r>
                      <a:r>
                        <a:rPr lang="en-US" sz="1100" dirty="0">
                          <a:effectLst/>
                        </a:rPr>
                        <a:t> : date,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     </a:t>
                      </a:r>
                      <a:r>
                        <a:rPr lang="en-US" sz="1100" dirty="0" err="1">
                          <a:effectLst/>
                        </a:rPr>
                        <a:t>dateReturned</a:t>
                      </a:r>
                      <a:r>
                        <a:rPr lang="en-US" sz="1100" dirty="0">
                          <a:effectLst/>
                        </a:rPr>
                        <a:t> : date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  }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]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14436778"/>
                  </a:ext>
                </a:extLst>
              </a:tr>
              <a:tr h="3917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sponse Http Status code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00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80042492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61521F6-3226-4537-952E-EDC1CDA536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408695"/>
              </p:ext>
            </p:extLst>
          </p:nvPr>
        </p:nvGraphicFramePr>
        <p:xfrm>
          <a:off x="516986" y="3387956"/>
          <a:ext cx="7937695" cy="28875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0735">
                  <a:extLst>
                    <a:ext uri="{9D8B030D-6E8A-4147-A177-3AD203B41FA5}">
                      <a16:colId xmlns:a16="http://schemas.microsoft.com/office/drawing/2014/main" val="1385104444"/>
                    </a:ext>
                  </a:extLst>
                </a:gridCol>
                <a:gridCol w="5496960">
                  <a:extLst>
                    <a:ext uri="{9D8B030D-6E8A-4147-A177-3AD203B41FA5}">
                      <a16:colId xmlns:a16="http://schemas.microsoft.com/office/drawing/2014/main" val="3530024063"/>
                    </a:ext>
                  </a:extLst>
                </a:gridCol>
              </a:tblGrid>
              <a:tr h="1516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RL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POST /subscriptions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09702627"/>
                  </a:ext>
                </a:extLst>
              </a:tr>
              <a:tr h="1516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quest Body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 single Subscription object.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76487211"/>
                  </a:ext>
                </a:extLst>
              </a:tr>
              <a:tr h="11100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quest body JSON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  {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     </a:t>
                      </a:r>
                      <a:r>
                        <a:rPr lang="en-US" sz="1100" dirty="0" err="1">
                          <a:effectLst/>
                        </a:rPr>
                        <a:t>subscriberName</a:t>
                      </a:r>
                      <a:r>
                        <a:rPr lang="en-US" sz="1100" dirty="0">
                          <a:effectLst/>
                        </a:rPr>
                        <a:t> : “string”,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     </a:t>
                      </a:r>
                      <a:r>
                        <a:rPr lang="en-US" sz="1100" dirty="0" err="1">
                          <a:effectLst/>
                        </a:rPr>
                        <a:t>bookId</a:t>
                      </a:r>
                      <a:r>
                        <a:rPr lang="en-US" sz="1100" dirty="0">
                          <a:effectLst/>
                        </a:rPr>
                        <a:t> : “string”,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     </a:t>
                      </a:r>
                      <a:r>
                        <a:rPr lang="en-US" sz="1100" dirty="0" err="1">
                          <a:effectLst/>
                        </a:rPr>
                        <a:t>dateSubscribed</a:t>
                      </a:r>
                      <a:r>
                        <a:rPr lang="en-US" sz="1100" dirty="0">
                          <a:effectLst/>
                        </a:rPr>
                        <a:t> : date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  }</a:t>
                      </a:r>
                      <a:endParaRPr lang="en-IN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34660028"/>
                  </a:ext>
                </a:extLst>
              </a:tr>
              <a:tr h="3114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esponse Http Status code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01 – Successful creation of subscription record</a:t>
                      </a:r>
                      <a:endParaRPr lang="en-IN" sz="1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22 – If book copies not available for subscription.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23195979"/>
                  </a:ext>
                </a:extLst>
              </a:tr>
              <a:tr h="9503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otes</a:t>
                      </a:r>
                      <a:endParaRPr lang="en-IN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1100" dirty="0">
                          <a:effectLst/>
                        </a:rPr>
                        <a:t>Create a record in the SUBSCRIPTION table. For the given </a:t>
                      </a:r>
                      <a:r>
                        <a:rPr lang="en-US" sz="1100" dirty="0" err="1">
                          <a:effectLst/>
                        </a:rPr>
                        <a:t>bookId</a:t>
                      </a:r>
                      <a:r>
                        <a:rPr lang="en-US" sz="1100" dirty="0">
                          <a:effectLst/>
                        </a:rPr>
                        <a:t> check if one or more copies are available in the BOOK table. If not available, then fail the operation. </a:t>
                      </a:r>
                      <a:endParaRPr lang="en-IN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1100" dirty="0">
                          <a:effectLst/>
                        </a:rPr>
                        <a:t>Use a @Transactional annotation to try the spring managed Commit/Rollback transaction management feature.</a:t>
                      </a:r>
                      <a:endParaRPr lang="en-IN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418308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6990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6522D9-58E3-45D8-AFF4-2741E003A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6419D1-D60F-4005-8218-EC0C5A455E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7138" y="450166"/>
            <a:ext cx="8353233" cy="585215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IN" sz="2400" spc="-100" dirty="0">
              <a:solidFill>
                <a:schemeClr val="tx2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IN" sz="2400" spc="-100" dirty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Requirement: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Create a </a:t>
            </a:r>
            <a:r>
              <a:rPr lang="en-IN" b="0" dirty="0" err="1">
                <a:cs typeface="Times New Roman" panose="02020603050405020304" pitchFamily="18" charset="0"/>
              </a:rPr>
              <a:t>SpringBoot</a:t>
            </a:r>
            <a:r>
              <a:rPr lang="en-IN" b="0" dirty="0">
                <a:cs typeface="Times New Roman" panose="02020603050405020304" pitchFamily="18" charset="0"/>
              </a:rPr>
              <a:t> application.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Follow the standard pattern of - REST Controller -&gt; Service -&gt; Repository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Use any Database of your choice.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Please create Junit tests for Controller and Service</a:t>
            </a:r>
          </a:p>
          <a:p>
            <a:pPr marL="0" indent="0">
              <a:buNone/>
            </a:pPr>
            <a:endParaRPr lang="en-IN" sz="2400" spc="-100" dirty="0">
              <a:solidFill>
                <a:schemeClr val="tx2">
                  <a:lumMod val="75000"/>
                </a:schemeClr>
              </a:solidFill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buNone/>
            </a:pPr>
            <a:endParaRPr lang="en-IN" b="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8102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6522D9-58E3-45D8-AFF4-2741E003A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C2248-B95D-984B-A0F4-42B9A4652AA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6419D1-D60F-4005-8218-EC0C5A455E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7138" y="450166"/>
            <a:ext cx="8353233" cy="58521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N" sz="2400" spc="-1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Additional:</a:t>
            </a:r>
          </a:p>
          <a:p>
            <a:pPr marL="0" indent="0">
              <a:lnSpc>
                <a:spcPct val="125000"/>
              </a:lnSpc>
              <a:buNone/>
            </a:pPr>
            <a:r>
              <a:rPr lang="en-IN" dirty="0">
                <a:cs typeface="Times New Roman" panose="02020603050405020304" pitchFamily="18" charset="0"/>
              </a:rPr>
              <a:t>Please explore/implement the below additional items -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Basic Authentication – add a security layer to authenticate the REST Services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Advice – implement AOP based Advice on the Service class to log the method parameters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</a:t>
            </a:r>
            <a:r>
              <a:rPr lang="en-IN" b="0" dirty="0" err="1">
                <a:cs typeface="Times New Roman" panose="02020603050405020304" pitchFamily="18" charset="0"/>
              </a:rPr>
              <a:t>RestTemplate</a:t>
            </a:r>
            <a:r>
              <a:rPr lang="en-IN" b="0" dirty="0">
                <a:cs typeface="Times New Roman" panose="02020603050405020304" pitchFamily="18" charset="0"/>
              </a:rPr>
              <a:t> – use </a:t>
            </a:r>
            <a:r>
              <a:rPr lang="en-IN" b="0" dirty="0" err="1">
                <a:cs typeface="Times New Roman" panose="02020603050405020304" pitchFamily="18" charset="0"/>
              </a:rPr>
              <a:t>RestTemplate</a:t>
            </a:r>
            <a:r>
              <a:rPr lang="en-IN" b="0" dirty="0">
                <a:cs typeface="Times New Roman" panose="02020603050405020304" pitchFamily="18" charset="0"/>
              </a:rPr>
              <a:t> to call an external API (any open API available on the web)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Swagger documentation – enable Swagger to create API documentation</a:t>
            </a:r>
          </a:p>
          <a:p>
            <a:pPr>
              <a:lnSpc>
                <a:spcPct val="125000"/>
              </a:lnSpc>
              <a:buFont typeface="Wingdings" panose="05000000000000000000" pitchFamily="2" charset="2"/>
              <a:buChar char="v"/>
            </a:pPr>
            <a:r>
              <a:rPr lang="en-IN" b="0" dirty="0">
                <a:cs typeface="Times New Roman" panose="02020603050405020304" pitchFamily="18" charset="0"/>
              </a:rPr>
              <a:t> Input validation using Java Constraint validations</a:t>
            </a:r>
          </a:p>
        </p:txBody>
      </p:sp>
    </p:spTree>
    <p:extLst>
      <p:ext uri="{BB962C8B-B14F-4D97-AF65-F5344CB8AC3E}">
        <p14:creationId xmlns:p14="http://schemas.microsoft.com/office/powerpoint/2010/main" val="1874360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4081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S_presentation_4x3_empty with added design theme">
  <a:themeElements>
    <a:clrScheme name="NEW FIS">
      <a:dk1>
        <a:srgbClr val="000000"/>
      </a:dk1>
      <a:lt1>
        <a:srgbClr val="FFFFFF"/>
      </a:lt1>
      <a:dk2>
        <a:srgbClr val="8DC63F"/>
      </a:dk2>
      <a:lt2>
        <a:srgbClr val="004F59"/>
      </a:lt2>
      <a:accent1>
        <a:srgbClr val="009273"/>
      </a:accent1>
      <a:accent2>
        <a:srgbClr val="00BBD3"/>
      </a:accent2>
      <a:accent3>
        <a:srgbClr val="BBBABA"/>
      </a:accent3>
      <a:accent4>
        <a:srgbClr val="FFC845"/>
      </a:accent4>
      <a:accent5>
        <a:srgbClr val="0081A3"/>
      </a:accent5>
      <a:accent6>
        <a:srgbClr val="007E80"/>
      </a:accent6>
      <a:hlink>
        <a:srgbClr val="72246C"/>
      </a:hlink>
      <a:folHlink>
        <a:srgbClr val="FFFF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lIns="36000" tIns="36000" rIns="36000" bIns="36000" rtlCol="0" anchor="ctr"/>
      <a:lstStyle>
        <a:defPPr algn="ctr">
          <a:defRPr sz="1600" b="1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9B69DC36-69DC-9F44-A4AC-DEF3F2BC1EC0}" vid="{A022B6EB-307D-AB45-ACB7-EBB7A58A12E8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ED94E0A886FA4982F2AD1BEE5D9225" ma:contentTypeVersion="2" ma:contentTypeDescription="Create a new document." ma:contentTypeScope="" ma:versionID="39e567ede000dc0ef286ea298711e294">
  <xsd:schema xmlns:xsd="http://www.w3.org/2001/XMLSchema" xmlns:xs="http://www.w3.org/2001/XMLSchema" xmlns:p="http://schemas.microsoft.com/office/2006/metadata/properties" xmlns:ns2="e975e5cd-1d8d-44bc-9382-43144cb3bb68" targetNamespace="http://schemas.microsoft.com/office/2006/metadata/properties" ma:root="true" ma:fieldsID="505d8aacf96eddf01e3df37b39517c5e" ns2:_="">
    <xsd:import namespace="e975e5cd-1d8d-44bc-9382-43144cb3bb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75e5cd-1d8d-44bc-9382-43144cb3bb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84BDC5B-D1CB-4ACC-93E3-EC340E04B5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F62981-65DF-4E6B-92C5-FA8D37AB95A4}">
  <ds:schemaRefs>
    <ds:schemaRef ds:uri="http://purl.org/dc/dcmitype/"/>
    <ds:schemaRef ds:uri="http://schemas.microsoft.com/office/2006/documentManagement/types"/>
    <ds:schemaRef ds:uri="http://purl.org/dc/terms/"/>
    <ds:schemaRef ds:uri="e975e5cd-1d8d-44bc-9382-43144cb3bb68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0DC64A3-5229-45EC-8C7F-E31195EBE9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75e5cd-1d8d-44bc-9382-43144cb3bb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S_presentation_4x3_empty with added design theme</Template>
  <TotalTime>20752</TotalTime>
  <Words>573</Words>
  <Application>Microsoft Office PowerPoint</Application>
  <PresentationFormat>On-screen Show (4:3)</PresentationFormat>
  <Paragraphs>111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IBM Plex Sans</vt:lpstr>
      <vt:lpstr>Lucida Grande</vt:lpstr>
      <vt:lpstr>Symbol</vt:lpstr>
      <vt:lpstr>Wingdings</vt:lpstr>
      <vt:lpstr>FIS_presentation_4x3_empty with added design theme</vt:lpstr>
      <vt:lpstr>wht_background_2017</vt:lpstr>
      <vt:lpstr>think-cell Slide</vt:lpstr>
      <vt:lpstr>Day 5 – Microservices Training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FI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S 4x3 Basic Template</dc:title>
  <dc:creator>Steele, Angela</dc:creator>
  <cp:lastModifiedBy>Damle, Nikhil</cp:lastModifiedBy>
  <cp:revision>565</cp:revision>
  <cp:lastPrinted>2016-08-15T14:46:58Z</cp:lastPrinted>
  <dcterms:created xsi:type="dcterms:W3CDTF">2015-12-02T20:50:56Z</dcterms:created>
  <dcterms:modified xsi:type="dcterms:W3CDTF">2021-12-03T05:0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ED94E0A886FA4982F2AD1BEE5D9225</vt:lpwstr>
  </property>
  <property fmtid="{D5CDD505-2E9C-101B-9397-08002B2CF9AE}" pid="3" name="hubDataClassification">
    <vt:lpwstr>120;#Internal Use|c3cad031-fee6-47a9-aad0-2ffea30ffed6</vt:lpwstr>
  </property>
  <property fmtid="{D5CDD505-2E9C-101B-9397-08002B2CF9AE}" pid="4" name="hubOfficialRecord">
    <vt:lpwstr>118;#Discretionary|be304623-379d-4a0b-8bdf-b30f264f5d0f</vt:lpwstr>
  </property>
  <property fmtid="{D5CDD505-2E9C-101B-9397-08002B2CF9AE}" pid="5" name="ContentCategory1">
    <vt:lpwstr>116;#General|df414748-05a1-4eef-b671-5b3efbbf31a9</vt:lpwstr>
  </property>
</Properties>
</file>